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9" r:id="rId1"/>
  </p:sldMasterIdLst>
  <p:notesMasterIdLst>
    <p:notesMasterId r:id="rId12"/>
  </p:notesMasterIdLst>
  <p:sldIdLst>
    <p:sldId id="256" r:id="rId2"/>
    <p:sldId id="2252" r:id="rId3"/>
    <p:sldId id="2249" r:id="rId4"/>
    <p:sldId id="2251" r:id="rId5"/>
    <p:sldId id="2265" r:id="rId6"/>
    <p:sldId id="2267" r:id="rId7"/>
    <p:sldId id="2268" r:id="rId8"/>
    <p:sldId id="2274" r:id="rId9"/>
    <p:sldId id="2275" r:id="rId10"/>
    <p:sldId id="2273" r:id="rId11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2A2A"/>
    <a:srgbClr val="0D537C"/>
    <a:srgbClr val="A88B54"/>
    <a:srgbClr val="148AB7"/>
    <a:srgbClr val="C7BA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631"/>
    <p:restoredTop sz="94719"/>
  </p:normalViewPr>
  <p:slideViewPr>
    <p:cSldViewPr snapToGrid="0" snapToObjects="1">
      <p:cViewPr varScale="1">
        <p:scale>
          <a:sx n="107" d="100"/>
          <a:sy n="107" d="100"/>
        </p:scale>
        <p:origin x="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FE21A18-CCCB-4208-954B-DE2749E44B0E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B8BB9D3-6F10-453B-837A-6F3A7CEAE64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806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756FB-E05E-443F-88A1-CFC9063899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4727" y="1597961"/>
            <a:ext cx="9144000" cy="3162300"/>
          </a:xfrm>
        </p:spPr>
        <p:txBody>
          <a:bodyPr anchor="b">
            <a:normAutofit/>
          </a:bodyPr>
          <a:lstStyle>
            <a:lvl1pPr algn="l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5DA97A-281B-4A77-9D2C-C5E6A860E6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4727" y="4902488"/>
            <a:ext cx="9144000" cy="985075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FD7BAE-E194-4223-BB4E-5E487863F5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21F6C9-7279-4DF8-9462-3EFEFA03F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57072-0A38-49AD-8D0D-0E42DD488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2815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89E81-5CFF-4A28-B9C8-5D54E51DF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8A4CC8-DCB0-4E94-98A7-236E3D1866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D1F802-21C2-44B2-A419-55469D8265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BDB709-08FF-4C4A-8670-4CCA9146F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395375-1CC8-4950-8439-877451C42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8291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CE8BDF0-A155-454D-B3E2-AD15D0905A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073242" y="827313"/>
            <a:ext cx="2280557" cy="5061857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244E0D-96EC-4B35-BA5C-5DAFCC7281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827313"/>
            <a:ext cx="8115300" cy="5061857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3ADC4E-9FB1-439F-B0FB-47F47B342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7EE406-061A-4440-BA75-3B684FC84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6D93CF-F5F3-4897-A51E-47D577FDD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1889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45015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98199-C6CF-4DFF-A750-435F06CC7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F2D5EB-F993-411F-9DBA-971321FC00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A5D216-27F9-4078-8349-ABC9F614A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4F8A8-FBA7-4F25-ADEA-AF346495D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4609F8-5897-4724-8FA6-3EFDE8F2D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819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C0F0C-7BA8-490D-B4C9-CCE145DCD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726" y="1709738"/>
            <a:ext cx="9143999" cy="3050523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290E61-B837-4BE4-9BC7-6AF706BCCA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84726" y="4902488"/>
            <a:ext cx="9143999" cy="985075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2E15F-E46D-44C6-9FB9-07B0BC545A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BF6955-3667-4857-B35A-9E12F79886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4B309-D15E-4FA1-9B8D-8C1F3B56C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2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219AB-91F9-4F80-9B5D-2E6FE925F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19F334-D0CF-4DFD-BAA9-3ECD639B1F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77362" y="2227809"/>
            <a:ext cx="4942438" cy="39491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5E0B5D-4613-4DA7-BA20-58B19BE8A4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227809"/>
            <a:ext cx="4855265" cy="39491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F311AB-0603-424D-BC42-0CEAB3562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3AA2AC-0C5F-4835-BE47-D780C2989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6C54C0-DFDA-4778-9EE8-5E5C30E05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869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9F3603-5B09-4916-8324-A6BDAB4E0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726" y="365125"/>
            <a:ext cx="9942739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74073C-C15B-4218-9B84-6758955176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84725" y="1681163"/>
            <a:ext cx="491285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116D27-36F6-440B-A9BE-8B9499047C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84726" y="2505075"/>
            <a:ext cx="4912849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12010D-7AC4-4A70-A211-6A29274119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485526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AE85B5-3350-49A4-86A1-E5DAED4916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4855265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A73E874-D08B-4D81-B82D-5DF242E4A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174067-0FFA-41C3-A3A6-E8907CC32D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947985-FBC0-4118-8877-2E327F637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476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CE0282-3DE7-4AB9-83AC-AFEDD22AF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1A7436C-706A-443F-86CD-4444C82818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B53292-7EA5-45D0-957F-636A44FC0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76F59D-34BB-462C-B506-040B9E982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534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E55245-AB52-41B4-9B28-55E6527DA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73B8AE-58B0-4FDF-8430-9D8D3DD53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9E4D91-8619-43C1-841B-B5F47DE01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1691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5DA660-DF93-4947-B93F-BF118D3B5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727" y="457200"/>
            <a:ext cx="368729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F0292E-B3E1-4FD6-A7FA-C165BAC21C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5844277" cy="487362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FB0ECC-817B-4A71-AFB5-FC60A2BC3A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84727" y="2253343"/>
            <a:ext cx="3687298" cy="361564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88E0B-6135-4F59-A35A-2CA1A8BA4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0DEF36-4037-4E6D-988F-CC8E3F11C6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5C0D2D-D878-4723-A002-5A601EFB4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77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C59D5-B8A1-4C9C-A61F-E082A4433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727" y="720433"/>
            <a:ext cx="3687298" cy="15873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CB4F5F-E6E7-45C3-B35C-80F81FB1A5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58277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633AB7-4F8E-4A9F-AC15-89E6A6E003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84727" y="2449286"/>
            <a:ext cx="3687298" cy="341970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74B526-866D-4E11-A7F9-081BD4EDF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8A28C-4C6A-46EA-90C0-4EE0B89CC5C7}" type="datetimeFigureOut">
              <a:rPr lang="en-US" smtClean="0"/>
              <a:t>9/16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758BF8-E962-4367-8495-62438FDD4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C20AE1-C97D-4E6C-9DB2-B2904C2CF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F7F31-0B8A-474A-B86C-91F3817543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227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E192E3E-68A9-4F36-936C-1C8D0B9EF132}"/>
              </a:ext>
            </a:extLst>
          </p:cNvPr>
          <p:cNvSpPr/>
          <p:nvPr/>
        </p:nvSpPr>
        <p:spPr>
          <a:xfrm>
            <a:off x="8803792" y="3455896"/>
            <a:ext cx="3388208" cy="3406341"/>
          </a:xfrm>
          <a:custGeom>
            <a:avLst/>
            <a:gdLst>
              <a:gd name="connsiteX0" fmla="*/ 3388058 w 3388208"/>
              <a:gd name="connsiteY0" fmla="*/ 0 h 3406341"/>
              <a:gd name="connsiteX1" fmla="*/ 3388208 w 3388208"/>
              <a:gd name="connsiteY1" fmla="*/ 0 h 3406341"/>
              <a:gd name="connsiteX2" fmla="*/ 3388208 w 3388208"/>
              <a:gd name="connsiteY2" fmla="*/ 3406341 h 3406341"/>
              <a:gd name="connsiteX3" fmla="*/ 0 w 3388208"/>
              <a:gd name="connsiteY3" fmla="*/ 3406341 h 3406341"/>
              <a:gd name="connsiteX4" fmla="*/ 79006 w 3388208"/>
              <a:gd name="connsiteY4" fmla="*/ 3404386 h 3406341"/>
              <a:gd name="connsiteX5" fmla="*/ 3383947 w 3388208"/>
              <a:gd name="connsiteY5" fmla="*/ 164274 h 3406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8208" h="3406341">
                <a:moveTo>
                  <a:pt x="3388058" y="0"/>
                </a:moveTo>
                <a:lnTo>
                  <a:pt x="3388208" y="0"/>
                </a:lnTo>
                <a:lnTo>
                  <a:pt x="3388208" y="3406341"/>
                </a:lnTo>
                <a:lnTo>
                  <a:pt x="0" y="3406341"/>
                </a:lnTo>
                <a:lnTo>
                  <a:pt x="79006" y="3404386"/>
                </a:lnTo>
                <a:cubicBezTo>
                  <a:pt x="1864742" y="3315784"/>
                  <a:pt x="3296223" y="1912901"/>
                  <a:pt x="3383947" y="16427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214EB0-7E6D-4536-9350-5CB688B56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7362" y="720434"/>
            <a:ext cx="9950103" cy="150737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F5455E-4725-4924-BF7D-2E1FC9E391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77362" y="2427316"/>
            <a:ext cx="9950103" cy="35135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CAD9D9-1A1D-4438-9F3D-E5E58FD72F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43751" y="6356350"/>
            <a:ext cx="22966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8C28A28C-4C6A-46EA-90C0-4EE0B89CC5C7}" type="datetimeFigureOut">
              <a:rPr lang="en-US" smtClean="0"/>
              <a:pPr/>
              <a:t>9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80A827-D7BF-4CA4-8C29-5AE54ADA47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-1610380" y="1926575"/>
            <a:ext cx="38303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717188-1DE1-4DA5-8161-21179E4ADE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0355" y="6356350"/>
            <a:ext cx="410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5DEF7F31-0B8A-474A-B86C-91F3817543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904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8" r:id="rId6"/>
    <p:sldLayoutId id="2147483693" r:id="rId7"/>
    <p:sldLayoutId id="2147483694" r:id="rId8"/>
    <p:sldLayoutId id="2147483695" r:id="rId9"/>
    <p:sldLayoutId id="2147483697" r:id="rId10"/>
    <p:sldLayoutId id="2147483696" r:id="rId11"/>
    <p:sldLayoutId id="2147483700" r:id="rId12"/>
  </p:sldLayoutIdLst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200" b="1" kern="120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4320" indent="0" algn="l" defTabSz="914400" rtl="0" eaLnBrk="1" latinLnBrk="0" hangingPunct="1">
        <a:lnSpc>
          <a:spcPct val="120000"/>
        </a:lnSpc>
        <a:spcBef>
          <a:spcPts val="5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0" algn="l" defTabSz="914400" rtl="0" eaLnBrk="1" latinLnBrk="0" hangingPunct="1">
        <a:lnSpc>
          <a:spcPct val="120000"/>
        </a:lnSpc>
        <a:spcBef>
          <a:spcPts val="500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82296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CDBACC89-F627-4E52-8D10-DE7501AAE42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366A80-A259-0147-BB51-4230533961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1840" y="2091334"/>
            <a:ext cx="4738298" cy="4474628"/>
          </a:xfrm>
        </p:spPr>
        <p:txBody>
          <a:bodyPr anchor="b">
            <a:normAutofit/>
          </a:bodyPr>
          <a:lstStyle/>
          <a:p>
            <a:pPr>
              <a:lnSpc>
                <a:spcPct val="110000"/>
              </a:lnSpc>
            </a:pPr>
            <a:r>
              <a:rPr lang="en-US" sz="4000" b="1" dirty="0" smtClean="0">
                <a:solidFill>
                  <a:srgbClr val="0D537C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A NEW LHC  </a:t>
            </a:r>
            <a:endParaRPr lang="en-US" sz="4000" b="1" dirty="0">
              <a:solidFill>
                <a:srgbClr val="0D537C"/>
              </a:solidFill>
              <a:latin typeface="Avenir Book" panose="02000503020000020003" pitchFamily="2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sz="4000" b="1" dirty="0">
                <a:solidFill>
                  <a:srgbClr val="0D537C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 </a:t>
            </a:r>
            <a:r>
              <a:rPr lang="en-US" sz="2800" dirty="0">
                <a:solidFill>
                  <a:srgbClr val="0D537C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/>
            </a:r>
            <a:br>
              <a:rPr lang="en-US" sz="2800" dirty="0">
                <a:solidFill>
                  <a:srgbClr val="0D537C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</a:br>
            <a:r>
              <a:rPr lang="en-US" sz="2800" dirty="0">
                <a:solidFill>
                  <a:srgbClr val="0D537C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Board </a:t>
            </a:r>
            <a:r>
              <a:rPr lang="en-US" sz="2800" dirty="0" smtClean="0">
                <a:solidFill>
                  <a:srgbClr val="0D537C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Retreat Presentation </a:t>
            </a:r>
            <a:endParaRPr lang="en-US" sz="2800" dirty="0">
              <a:solidFill>
                <a:srgbClr val="0D537C"/>
              </a:solidFill>
              <a:latin typeface="Avenir Book" panose="02000503020000020003" pitchFamily="2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sz="2800" dirty="0">
                <a:solidFill>
                  <a:srgbClr val="0D537C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September </a:t>
            </a:r>
            <a:r>
              <a:rPr lang="en-US" sz="2800" dirty="0" smtClean="0">
                <a:solidFill>
                  <a:srgbClr val="0D537C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2024</a:t>
            </a:r>
            <a:endParaRPr lang="en-US" sz="2800" dirty="0">
              <a:solidFill>
                <a:srgbClr val="0D537C"/>
              </a:solidFill>
              <a:latin typeface="Avenir Book" panose="02000503020000020003" pitchFamily="2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</a:pPr>
            <a:endParaRPr lang="en-US" sz="2800" dirty="0">
              <a:solidFill>
                <a:srgbClr val="0D537C"/>
              </a:solidFill>
              <a:latin typeface="Avenir Book" panose="02000503020000020003" pitchFamily="2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</a:pPr>
            <a:endParaRPr lang="en-US" sz="2800" dirty="0">
              <a:solidFill>
                <a:srgbClr val="0D537C"/>
              </a:solidFill>
              <a:latin typeface="Avenir Book" panose="02000503020000020003" pitchFamily="2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</a:pPr>
            <a:endParaRPr lang="en-US" sz="2800" dirty="0">
              <a:solidFill>
                <a:srgbClr val="0D537C"/>
              </a:solidFill>
              <a:latin typeface="Avenir Book" panose="02000503020000020003" pitchFamily="2" charset="0"/>
              <a:cs typeface="Calibri" panose="020F0502020204030204" pitchFamily="34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FEE74FF0-7700-45E2-84A7-B21E79E4BE5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224981" y="-2261"/>
            <a:ext cx="3388208" cy="3406341"/>
          </a:xfrm>
          <a:custGeom>
            <a:avLst/>
            <a:gdLst>
              <a:gd name="connsiteX0" fmla="*/ 3388058 w 3388208"/>
              <a:gd name="connsiteY0" fmla="*/ 0 h 3406341"/>
              <a:gd name="connsiteX1" fmla="*/ 3388208 w 3388208"/>
              <a:gd name="connsiteY1" fmla="*/ 0 h 3406341"/>
              <a:gd name="connsiteX2" fmla="*/ 3388208 w 3388208"/>
              <a:gd name="connsiteY2" fmla="*/ 3406341 h 3406341"/>
              <a:gd name="connsiteX3" fmla="*/ 0 w 3388208"/>
              <a:gd name="connsiteY3" fmla="*/ 3406341 h 3406341"/>
              <a:gd name="connsiteX4" fmla="*/ 79006 w 3388208"/>
              <a:gd name="connsiteY4" fmla="*/ 3404386 h 3406341"/>
              <a:gd name="connsiteX5" fmla="*/ 3383947 w 3388208"/>
              <a:gd name="connsiteY5" fmla="*/ 164274 h 3406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8208" h="3406341">
                <a:moveTo>
                  <a:pt x="3388058" y="0"/>
                </a:moveTo>
                <a:lnTo>
                  <a:pt x="3388208" y="0"/>
                </a:lnTo>
                <a:lnTo>
                  <a:pt x="3388208" y="3406341"/>
                </a:lnTo>
                <a:lnTo>
                  <a:pt x="0" y="3406341"/>
                </a:lnTo>
                <a:lnTo>
                  <a:pt x="79006" y="3404386"/>
                </a:lnTo>
                <a:cubicBezTo>
                  <a:pt x="1864742" y="3315784"/>
                  <a:pt x="3296223" y="1912901"/>
                  <a:pt x="3383947" y="164274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46C1247C-67BF-D848-8EDF-11ACE8437D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0649" y="1598197"/>
            <a:ext cx="4528970" cy="91852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322D4C-51DD-4EED-8CC9-4BF4C328B51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240469" y="3398831"/>
            <a:ext cx="3445639" cy="34766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573A88-E4E0-4FBC-A3A1-6AF76F5BC0C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722218" y="3396852"/>
            <a:ext cx="3452313" cy="348724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34">
            <a:extLst>
              <a:ext uri="{FF2B5EF4-FFF2-40B4-BE49-F238E27FC236}">
                <a16:creationId xmlns:a16="http://schemas.microsoft.com/office/drawing/2014/main" id="{1C2F2A87-29FA-4731-9D9C-CA3CAC2CF01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727072" y="3393067"/>
            <a:ext cx="3443678" cy="3486182"/>
          </a:xfrm>
          <a:custGeom>
            <a:avLst/>
            <a:gdLst>
              <a:gd name="connsiteX0" fmla="*/ 0 w 3484819"/>
              <a:gd name="connsiteY0" fmla="*/ 0 h 3430264"/>
              <a:gd name="connsiteX1" fmla="*/ 3484819 w 3484819"/>
              <a:gd name="connsiteY1" fmla="*/ 0 h 3430264"/>
              <a:gd name="connsiteX2" fmla="*/ 3484819 w 3484819"/>
              <a:gd name="connsiteY2" fmla="*/ 3430264 h 3430264"/>
              <a:gd name="connsiteX3" fmla="*/ 0 w 3484819"/>
              <a:gd name="connsiteY3" fmla="*/ 3430264 h 3430264"/>
              <a:gd name="connsiteX4" fmla="*/ 0 w 3484819"/>
              <a:gd name="connsiteY4" fmla="*/ 0 h 3430264"/>
              <a:gd name="connsiteX0" fmla="*/ 0 w 3484819"/>
              <a:gd name="connsiteY0" fmla="*/ 0 h 3430264"/>
              <a:gd name="connsiteX1" fmla="*/ 3484819 w 3484819"/>
              <a:gd name="connsiteY1" fmla="*/ 0 h 3430264"/>
              <a:gd name="connsiteX2" fmla="*/ 0 w 3484819"/>
              <a:gd name="connsiteY2" fmla="*/ 3430264 h 3430264"/>
              <a:gd name="connsiteX3" fmla="*/ 0 w 3484819"/>
              <a:gd name="connsiteY3" fmla="*/ 0 h 3430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4819" h="3430264">
                <a:moveTo>
                  <a:pt x="0" y="0"/>
                </a:moveTo>
                <a:lnTo>
                  <a:pt x="3484819" y="0"/>
                </a:lnTo>
                <a:lnTo>
                  <a:pt x="0" y="343026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4CFB658-99C3-4625-9743-A64A6E4398F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5223293" y="3414319"/>
            <a:ext cx="3487248" cy="3443679"/>
          </a:xfrm>
          <a:custGeom>
            <a:avLst/>
            <a:gdLst>
              <a:gd name="connsiteX0" fmla="*/ 0 w 2559050"/>
              <a:gd name="connsiteY0" fmla="*/ 0 h 2559050"/>
              <a:gd name="connsiteX1" fmla="*/ 2559050 w 2559050"/>
              <a:gd name="connsiteY1" fmla="*/ 0 h 2559050"/>
              <a:gd name="connsiteX2" fmla="*/ 0 w 2559050"/>
              <a:gd name="connsiteY2" fmla="*/ 2559050 h 2559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59050" h="2559050">
                <a:moveTo>
                  <a:pt x="0" y="0"/>
                </a:moveTo>
                <a:lnTo>
                  <a:pt x="2559050" y="0"/>
                </a:lnTo>
                <a:cubicBezTo>
                  <a:pt x="2559050" y="1413324"/>
                  <a:pt x="1413324" y="2559050"/>
                  <a:pt x="0" y="2559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E59C6D-8C39-BD4E-8672-CD3CE67179E1}"/>
              </a:ext>
            </a:extLst>
          </p:cNvPr>
          <p:cNvSpPr txBox="1"/>
          <p:nvPr/>
        </p:nvSpPr>
        <p:spPr>
          <a:xfrm>
            <a:off x="8867553" y="281762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2050" name="Picture 2" descr="page1image62026112">
            <a:extLst>
              <a:ext uri="{FF2B5EF4-FFF2-40B4-BE49-F238E27FC236}">
                <a16:creationId xmlns:a16="http://schemas.microsoft.com/office/drawing/2014/main" id="{23BCC54E-7A28-75C8-DF46-75C6A82B20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8633"/>
            <a:ext cx="23911037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3812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09F869D3-A281-8896-D745-C6F50C4E3B72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43906015"/>
              </p:ext>
            </p:extLst>
          </p:nvPr>
        </p:nvGraphicFramePr>
        <p:xfrm>
          <a:off x="359229" y="112486"/>
          <a:ext cx="11440885" cy="68932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3359606197"/>
                    </a:ext>
                  </a:extLst>
                </a:gridCol>
                <a:gridCol w="1338942">
                  <a:extLst>
                    <a:ext uri="{9D8B030D-6E8A-4147-A177-3AD203B41FA5}">
                      <a16:colId xmlns:a16="http://schemas.microsoft.com/office/drawing/2014/main" val="3636378412"/>
                    </a:ext>
                  </a:extLst>
                </a:gridCol>
                <a:gridCol w="1251858">
                  <a:extLst>
                    <a:ext uri="{9D8B030D-6E8A-4147-A177-3AD203B41FA5}">
                      <a16:colId xmlns:a16="http://schemas.microsoft.com/office/drawing/2014/main" val="671224130"/>
                    </a:ext>
                  </a:extLst>
                </a:gridCol>
                <a:gridCol w="1099836">
                  <a:extLst>
                    <a:ext uri="{9D8B030D-6E8A-4147-A177-3AD203B41FA5}">
                      <a16:colId xmlns:a16="http://schemas.microsoft.com/office/drawing/2014/main" val="3598025959"/>
                    </a:ext>
                  </a:extLst>
                </a:gridCol>
                <a:gridCol w="1316792">
                  <a:extLst>
                    <a:ext uri="{9D8B030D-6E8A-4147-A177-3AD203B41FA5}">
                      <a16:colId xmlns:a16="http://schemas.microsoft.com/office/drawing/2014/main" val="224210076"/>
                    </a:ext>
                  </a:extLst>
                </a:gridCol>
                <a:gridCol w="1230086">
                  <a:extLst>
                    <a:ext uri="{9D8B030D-6E8A-4147-A177-3AD203B41FA5}">
                      <a16:colId xmlns:a16="http://schemas.microsoft.com/office/drawing/2014/main" val="901130075"/>
                    </a:ext>
                  </a:extLst>
                </a:gridCol>
                <a:gridCol w="1125484">
                  <a:extLst>
                    <a:ext uri="{9D8B030D-6E8A-4147-A177-3AD203B41FA5}">
                      <a16:colId xmlns:a16="http://schemas.microsoft.com/office/drawing/2014/main" val="3572111181"/>
                    </a:ext>
                  </a:extLst>
                </a:gridCol>
                <a:gridCol w="1029887">
                  <a:extLst>
                    <a:ext uri="{9D8B030D-6E8A-4147-A177-3AD203B41FA5}">
                      <a16:colId xmlns:a16="http://schemas.microsoft.com/office/drawing/2014/main" val="3257517926"/>
                    </a:ext>
                  </a:extLst>
                </a:gridCol>
              </a:tblGrid>
              <a:tr h="1665961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Avenir Next" panose="020B0503020202020204" pitchFamily="34" charset="0"/>
                        </a:rPr>
                        <a:t>Dashboard of Success Metrics </a:t>
                      </a:r>
                    </a:p>
                    <a:p>
                      <a:pPr algn="l"/>
                      <a:endParaRPr lang="en-US" sz="1800" b="1" dirty="0">
                        <a:solidFill>
                          <a:schemeClr val="tx1"/>
                        </a:solidFill>
                        <a:latin typeface="Avenir Next" panose="020B0503020202020204" pitchFamily="34" charset="0"/>
                      </a:endParaRPr>
                    </a:p>
                    <a:p>
                      <a:pPr algn="l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venir Next" panose="020B0503020202020204" pitchFamily="34" charset="0"/>
                        </a:rPr>
                        <a:t>Strategic Goals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Number of Homeowner /$ Allocated </a:t>
                      </a:r>
                    </a:p>
                  </a:txBody>
                  <a:tcPr vert="vert270"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Number First Time Home Loans</a:t>
                      </a:r>
                    </a:p>
                  </a:txBody>
                  <a:tcPr vert="vert270"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Projected Rental Units/ $ Allocated</a:t>
                      </a:r>
                    </a:p>
                  </a:txBody>
                  <a:tcPr vert="vert270"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umber of Rehab Units</a:t>
                      </a:r>
                    </a:p>
                  </a:txBody>
                  <a:tcPr vert="vert270"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umber Vouchers Issued</a:t>
                      </a:r>
                    </a:p>
                  </a:txBody>
                  <a:tcPr vert="vert270"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ew Revenue Generated</a:t>
                      </a:r>
                    </a:p>
                  </a:txBody>
                  <a:tcPr vert="vert270"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ollars Awarded</a:t>
                      </a:r>
                    </a:p>
                  </a:txBody>
                  <a:tcPr vert="vert270"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4498432"/>
                  </a:ext>
                </a:extLst>
              </a:tr>
              <a:tr h="505163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latin typeface="Avenir Next" panose="020B0503020202020204" pitchFamily="34" charset="0"/>
                        </a:rPr>
                        <a:t>Housing 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322265"/>
                  </a:ext>
                </a:extLst>
              </a:tr>
              <a:tr h="599985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 smtClean="0">
                          <a:latin typeface="Avenir Next" panose="020B0503020202020204" pitchFamily="34" charset="0"/>
                        </a:rPr>
                        <a:t>Homeownership</a:t>
                      </a:r>
                      <a:endParaRPr lang="en-US" sz="1800" b="0" dirty="0">
                        <a:latin typeface="Avenir Next" panose="020B0503020202020204" pitchFamily="34" charset="0"/>
                      </a:endParaRP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0758329"/>
                  </a:ext>
                </a:extLst>
              </a:tr>
              <a:tr h="444535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latin typeface="Avenir Next" panose="020B0503020202020204" pitchFamily="34" charset="0"/>
                        </a:rPr>
                        <a:t>Homelessness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246360"/>
                  </a:ext>
                </a:extLst>
              </a:tr>
              <a:tr h="407038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latin typeface="Avenir Next" panose="020B0503020202020204" pitchFamily="34" charset="0"/>
                        </a:rPr>
                        <a:t>Disaster Recovery 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288361"/>
                  </a:ext>
                </a:extLst>
              </a:tr>
              <a:tr h="586350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latin typeface="Avenir Next" panose="020B0503020202020204" pitchFamily="34" charset="0"/>
                        </a:rPr>
                        <a:t>Partnerships Local/Rural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✔️</a:t>
                      </a:r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1113887"/>
                  </a:ext>
                </a:extLst>
              </a:tr>
              <a:tr h="394916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latin typeface="Avenir Next" panose="020B0503020202020204" pitchFamily="34" charset="0"/>
                        </a:rPr>
                        <a:t>Sustainability Plan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✔️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030233"/>
                  </a:ext>
                </a:extLst>
              </a:tr>
              <a:tr h="398172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 smtClean="0">
                          <a:latin typeface="Avenir Next" panose="020B0503020202020204" pitchFamily="34" charset="0"/>
                        </a:rPr>
                        <a:t>Diversify and Expand Revenue</a:t>
                      </a:r>
                      <a:endParaRPr lang="en-US" sz="1800" b="0" dirty="0">
                        <a:latin typeface="Avenir Next" panose="020B0503020202020204" pitchFamily="34" charset="0"/>
                      </a:endParaRP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✔️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6758094"/>
                  </a:ext>
                </a:extLst>
              </a:tr>
              <a:tr h="361263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latin typeface="Avenir Next" panose="020B0503020202020204" pitchFamily="34" charset="0"/>
                        </a:rPr>
                        <a:t>Service Excellence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✔️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04900"/>
                  </a:ext>
                </a:extLst>
              </a:tr>
              <a:tr h="398172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latin typeface="Avenir Next" panose="020B0503020202020204" pitchFamily="34" charset="0"/>
                        </a:rPr>
                        <a:t>Communications 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6496773"/>
                  </a:ext>
                </a:extLst>
              </a:tr>
              <a:tr h="447261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 smtClean="0">
                          <a:latin typeface="Avenir Next" panose="020B0503020202020204" pitchFamily="34" charset="0"/>
                        </a:rPr>
                        <a:t>Data </a:t>
                      </a:r>
                      <a:r>
                        <a:rPr lang="en-US" sz="1800" b="0" dirty="0">
                          <a:latin typeface="Avenir Next" panose="020B0503020202020204" pitchFamily="34" charset="0"/>
                        </a:rPr>
                        <a:t>Tracking</a:t>
                      </a:r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✔️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✔️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✔️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✔️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✔️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✔️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✔️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b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4252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7777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B4B35DF-669D-6FEE-1833-265B358A95B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75000"/>
              <a:lumOff val="25000"/>
            </a:schemeClr>
          </a:solidFill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VISION</a:t>
            </a:r>
            <a: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76358E-62C7-F3F3-4D91-91D53CE7E9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3000" i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sz="30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uisiana Housing Corporation will be recognized as a catalyst, a coordinator, and a trusted partner changing lives and communities across the state as we provide an increasing number of residents </a:t>
            </a:r>
            <a:r>
              <a:rPr lang="en-US" sz="3000" i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th the </a:t>
            </a:r>
            <a:r>
              <a:rPr lang="en-US" sz="30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portunity to live in safe, decent, and affordable housing.</a:t>
            </a:r>
            <a:endParaRPr lang="en-US" sz="3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indent="0" algn="ctr"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2" name="Picture 1" descr="A picture containing logo&#10;&#10;Description automatically generated">
            <a:extLst>
              <a:ext uri="{FF2B5EF4-FFF2-40B4-BE49-F238E27FC236}">
                <a16:creationId xmlns:a16="http://schemas.microsoft.com/office/drawing/2014/main" id="{7671D5F0-B841-0D2F-D837-BF2670F2C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333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B4B35DF-669D-6FEE-1833-265B358A95B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75000"/>
              <a:lumOff val="25000"/>
            </a:schemeClr>
          </a:solidFill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MISSION</a:t>
            </a:r>
            <a:r>
              <a:rPr lang="en-US" sz="32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32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76358E-62C7-F3F3-4D91-91D53CE7E9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 indent="0" algn="ctr">
              <a:spcBef>
                <a:spcPts val="600"/>
              </a:spcBef>
              <a:spcAft>
                <a:spcPts val="600"/>
              </a:spcAft>
              <a:buNone/>
            </a:pPr>
            <a:endParaRPr lang="en-US" sz="32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marR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36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Louisiana Housing Corporation’s mission is to ensure that every Louisiana resident is granted an opportunity to obtain safe, affordable, energy-efficient housing.</a:t>
            </a:r>
            <a:endParaRPr lang="en-US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E85A1594-F934-C0BF-7F10-076A414880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311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B4B35DF-669D-6FEE-1833-265B358A9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7361" y="294549"/>
            <a:ext cx="9950103" cy="1507376"/>
          </a:xfrm>
          <a:solidFill>
            <a:schemeClr val="tx2">
              <a:lumMod val="75000"/>
              <a:lumOff val="25000"/>
            </a:schemeClr>
          </a:solidFill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HC VALUES</a:t>
            </a:r>
            <a: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76358E-62C7-F3F3-4D91-91D53CE7E9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1371" y="1914658"/>
            <a:ext cx="10296273" cy="4943342"/>
          </a:xfrm>
        </p:spPr>
        <p:txBody>
          <a:bodyPr>
            <a:normAutofit/>
          </a:bodyPr>
          <a:lstStyle/>
          <a:p>
            <a:pPr marL="0" marR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ity </a:t>
            </a:r>
            <a:endParaRPr lang="en-US" sz="3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nsparency </a:t>
            </a:r>
          </a:p>
          <a:p>
            <a:pPr marL="0" marR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istency </a:t>
            </a:r>
          </a:p>
          <a:p>
            <a:pPr marL="0" marR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fficiency</a:t>
            </a:r>
          </a:p>
          <a:p>
            <a:pPr algn="ctr"/>
            <a:r>
              <a:rPr lang="en-US" sz="3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ent-Centric Approach</a:t>
            </a:r>
          </a:p>
          <a:p>
            <a:pPr algn="ctr"/>
            <a:r>
              <a:rPr lang="en-US" sz="3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dentifying and Leveraging the Power of Partnership </a:t>
            </a:r>
          </a:p>
          <a:p>
            <a:pPr algn="ctr"/>
            <a:r>
              <a:rPr lang="en-US" sz="3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and Our Reach</a:t>
            </a:r>
            <a:endParaRPr lang="en-US" sz="3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24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474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F6FE0B0-6097-F166-5647-71EC02DA83BB}"/>
              </a:ext>
            </a:extLst>
          </p:cNvPr>
          <p:cNvSpPr txBox="1"/>
          <p:nvPr/>
        </p:nvSpPr>
        <p:spPr>
          <a:xfrm>
            <a:off x="247996" y="1134103"/>
            <a:ext cx="11589327" cy="51090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reate housing that increases economic development, jobs, and builds community.</a:t>
            </a:r>
          </a:p>
          <a:p>
            <a:pPr marL="342900" indent="-342900">
              <a:buFont typeface="+mj-lt"/>
              <a:buAutoNum type="arabicPeriod"/>
            </a:pP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xpand homeownership opportunities across the state. </a:t>
            </a:r>
          </a:p>
          <a:p>
            <a:pPr marL="342900" indent="-342900">
              <a:buFont typeface="+mj-lt"/>
              <a:buAutoNum type="arabicPeriod"/>
            </a:pP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duce homelessness by expanding partnerships with continuum-of-care agencies and non-profits that provide wraparound services.</a:t>
            </a:r>
          </a:p>
          <a:p>
            <a:pPr marL="342900" indent="-342900">
              <a:buFont typeface="+mj-lt"/>
              <a:buAutoNum type="arabicPeriod"/>
            </a:pP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ilize newly-created Disaster Recovery Unit to proactively respond to the state’s housing needs.</a:t>
            </a: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BA96341-313E-2F00-7B7D-FA661D9E8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996" y="-557939"/>
            <a:ext cx="9950103" cy="1507376"/>
          </a:xfrm>
        </p:spPr>
        <p:txBody>
          <a:bodyPr/>
          <a:lstStyle/>
          <a:p>
            <a:pPr algn="ctr"/>
            <a:r>
              <a:rPr lang="en-US" dirty="0"/>
              <a:t>Strategic Goals</a:t>
            </a:r>
          </a:p>
        </p:txBody>
      </p:sp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911B1BE3-72A5-44AC-32DA-2C1CF1BB52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8759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F6FE0B0-6097-F166-5647-71EC02DA83BB}"/>
              </a:ext>
            </a:extLst>
          </p:cNvPr>
          <p:cNvSpPr txBox="1"/>
          <p:nvPr/>
        </p:nvSpPr>
        <p:spPr>
          <a:xfrm>
            <a:off x="247996" y="1134103"/>
            <a:ext cx="11589327" cy="53860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. Increase partnerships with local governments and rural communities.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. Implement a sustainability plan to address compliance concerns and 	establish systems and processes to eliminate identified risks. </a:t>
            </a:r>
            <a:endParaRPr lang="en-US" sz="2800" dirty="0" smtClean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800" dirty="0" smtClean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. Diversify and increase revenue generating opportunities.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. Create a culture of service excellence by attracting and retaining a well-	trained, professional workforce and providing the resources and 	technology they need to achieve the mission of the LHC.</a:t>
            </a: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BA96341-313E-2F00-7B7D-FA661D9E8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996" y="-557939"/>
            <a:ext cx="9950103" cy="1507376"/>
          </a:xfrm>
        </p:spPr>
        <p:txBody>
          <a:bodyPr/>
          <a:lstStyle/>
          <a:p>
            <a:pPr algn="ctr"/>
            <a:r>
              <a:rPr lang="en-US" dirty="0"/>
              <a:t>Strategic Goals – continued 2</a:t>
            </a:r>
          </a:p>
        </p:txBody>
      </p:sp>
      <p:pic>
        <p:nvPicPr>
          <p:cNvPr id="2" name="Picture 1" descr="A picture containing logo&#10;&#10;Description automatically generated">
            <a:extLst>
              <a:ext uri="{FF2B5EF4-FFF2-40B4-BE49-F238E27FC236}">
                <a16:creationId xmlns:a16="http://schemas.microsoft.com/office/drawing/2014/main" id="{F9E6CCA5-DEBE-BB2D-74DB-E18109669B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165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F6FE0B0-6097-F166-5647-71EC02DA83BB}"/>
              </a:ext>
            </a:extLst>
          </p:cNvPr>
          <p:cNvSpPr txBox="1"/>
          <p:nvPr/>
        </p:nvSpPr>
        <p:spPr>
          <a:xfrm>
            <a:off x="247996" y="1134103"/>
            <a:ext cx="11589327" cy="3662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9</a:t>
            </a: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pdate communications standard operating procedures and protocols to 	ensure consistent communications</a:t>
            </a: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. </a:t>
            </a:r>
            <a:r>
              <a:rPr lang="en-US" sz="28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eate an automated process to track and analyze data and utilize 	information to effectively influence decisions on investment, best 	practices, performance, innovation, and management.</a:t>
            </a: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BA96341-313E-2F00-7B7D-FA661D9E8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996" y="-557939"/>
            <a:ext cx="9950103" cy="1507376"/>
          </a:xfrm>
        </p:spPr>
        <p:txBody>
          <a:bodyPr/>
          <a:lstStyle/>
          <a:p>
            <a:pPr algn="ctr"/>
            <a:r>
              <a:rPr lang="en-US" dirty="0"/>
              <a:t>Strategic Goals – continued 3</a:t>
            </a:r>
          </a:p>
        </p:txBody>
      </p:sp>
      <p:pic>
        <p:nvPicPr>
          <p:cNvPr id="2" name="Picture 1" descr="A picture containing logo&#10;&#10;Description automatically generated">
            <a:extLst>
              <a:ext uri="{FF2B5EF4-FFF2-40B4-BE49-F238E27FC236}">
                <a16:creationId xmlns:a16="http://schemas.microsoft.com/office/drawing/2014/main" id="{BC1AA906-01E8-D04B-2B8B-983F0C1F4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7444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F6FE0B0-6097-F166-5647-71EC02DA83BB}"/>
              </a:ext>
            </a:extLst>
          </p:cNvPr>
          <p:cNvSpPr txBox="1"/>
          <p:nvPr/>
        </p:nvSpPr>
        <p:spPr>
          <a:xfrm>
            <a:off x="247996" y="1134103"/>
            <a:ext cx="11589327" cy="53860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</a:t>
            </a: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ddressing Cost Containment in a way that’s sustainable and feasible          	through education and policy.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Prioritizing the elderly, single parent households and victims of domestic 	violence.</a:t>
            </a:r>
          </a:p>
          <a:p>
            <a:endParaRPr lang="en-US" sz="2800" dirty="0" smtClean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Renewed focus on rural and underserved communities.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 Managing LHC like a business, eliminating duplication and waste.</a:t>
            </a: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. Cross training, succession planning and leadership development.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BA96341-313E-2F00-7B7D-FA661D9E8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996" y="-557939"/>
            <a:ext cx="9950103" cy="1507376"/>
          </a:xfrm>
        </p:spPr>
        <p:txBody>
          <a:bodyPr/>
          <a:lstStyle/>
          <a:p>
            <a:pPr algn="ctr"/>
            <a:r>
              <a:rPr lang="en-US" dirty="0"/>
              <a:t>Strategic Goals – </a:t>
            </a:r>
            <a:r>
              <a:rPr lang="en-US" dirty="0" smtClean="0"/>
              <a:t>New Additional Priorities</a:t>
            </a:r>
            <a:endParaRPr lang="en-US" dirty="0"/>
          </a:p>
        </p:txBody>
      </p:sp>
      <p:pic>
        <p:nvPicPr>
          <p:cNvPr id="2" name="Picture 1" descr="A picture containing logo&#10;&#10;Description automatically generated">
            <a:extLst>
              <a:ext uri="{FF2B5EF4-FFF2-40B4-BE49-F238E27FC236}">
                <a16:creationId xmlns:a16="http://schemas.microsoft.com/office/drawing/2014/main" id="{BC1AA906-01E8-D04B-2B8B-983F0C1F4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995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F6FE0B0-6097-F166-5647-71EC02DA83BB}"/>
              </a:ext>
            </a:extLst>
          </p:cNvPr>
          <p:cNvSpPr txBox="1"/>
          <p:nvPr/>
        </p:nvSpPr>
        <p:spPr>
          <a:xfrm>
            <a:off x="247996" y="1134103"/>
            <a:ext cx="11589327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</a:t>
            </a: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ptick in NIMBYSM (Not In My Backyard) issues.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No clear path of addressing insurance issues.</a:t>
            </a:r>
          </a:p>
          <a:p>
            <a:endParaRPr lang="en-US" sz="2800" dirty="0" smtClean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Developments experiencing cash flow problems.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 Reducing homelessness around the state with limited resources.</a:t>
            </a:r>
          </a:p>
          <a:p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. Cross training, succession planning and leadership development.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BA96341-313E-2F00-7B7D-FA661D9E8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996" y="-557939"/>
            <a:ext cx="9950103" cy="1507376"/>
          </a:xfrm>
        </p:spPr>
        <p:txBody>
          <a:bodyPr/>
          <a:lstStyle/>
          <a:p>
            <a:pPr algn="ctr"/>
            <a:r>
              <a:rPr lang="en-US" dirty="0" smtClean="0"/>
              <a:t>Affordable Housing Headwinds </a:t>
            </a:r>
            <a:endParaRPr lang="en-US" dirty="0"/>
          </a:p>
        </p:txBody>
      </p:sp>
      <p:pic>
        <p:nvPicPr>
          <p:cNvPr id="2" name="Picture 1" descr="A picture containing logo&#10;&#10;Description automatically generated">
            <a:extLst>
              <a:ext uri="{FF2B5EF4-FFF2-40B4-BE49-F238E27FC236}">
                <a16:creationId xmlns:a16="http://schemas.microsoft.com/office/drawing/2014/main" id="{BC1AA906-01E8-D04B-2B8B-983F0C1F4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7986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heme/theme1.xml><?xml version="1.0" encoding="utf-8"?>
<a:theme xmlns:a="http://schemas.openxmlformats.org/drawingml/2006/main" name="BlocksVTI">
  <a:themeElements>
    <a:clrScheme name="Blocks">
      <a:dk1>
        <a:sysClr val="windowText" lastClr="000000"/>
      </a:dk1>
      <a:lt1>
        <a:sysClr val="window" lastClr="FFFFFF"/>
      </a:lt1>
      <a:dk2>
        <a:srgbClr val="1B3843"/>
      </a:dk2>
      <a:lt2>
        <a:srgbClr val="F2F3F1"/>
      </a:lt2>
      <a:accent1>
        <a:srgbClr val="7A8592"/>
      </a:accent1>
      <a:accent2>
        <a:srgbClr val="8C8C96"/>
      </a:accent2>
      <a:accent3>
        <a:srgbClr val="7A6C76"/>
      </a:accent3>
      <a:accent4>
        <a:srgbClr val="A7AA9D"/>
      </a:accent4>
      <a:accent5>
        <a:srgbClr val="63787F"/>
      </a:accent5>
      <a:accent6>
        <a:srgbClr val="889DA5"/>
      </a:accent6>
      <a:hlink>
        <a:srgbClr val="71819B"/>
      </a:hlink>
      <a:folHlink>
        <a:srgbClr val="7E8B85"/>
      </a:folHlink>
    </a:clrScheme>
    <a:fontScheme name="Avenir">
      <a:majorFont>
        <a:latin typeface="Avenir Next LT Pro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ocksVTI" id="{31656FE6-20D8-4105-85EA-706EC9332BE9}" vid="{039DFFC9-9B25-4063-9235-B287A446F50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SA Theme</Template>
  <TotalTime>5526</TotalTime>
  <Words>501</Words>
  <Application>Microsoft Office PowerPoint</Application>
  <PresentationFormat>Widescreen</PresentationFormat>
  <Paragraphs>10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Avenir Book</vt:lpstr>
      <vt:lpstr>Avenir Next</vt:lpstr>
      <vt:lpstr>Avenir Next LT Pro</vt:lpstr>
      <vt:lpstr>Avenir Next LT Pro Light</vt:lpstr>
      <vt:lpstr>Calibri</vt:lpstr>
      <vt:lpstr>Times New Roman</vt:lpstr>
      <vt:lpstr>BlocksVTI</vt:lpstr>
      <vt:lpstr>think-cell Slide</vt:lpstr>
      <vt:lpstr>PowerPoint Presentation</vt:lpstr>
      <vt:lpstr>THE VISION </vt:lpstr>
      <vt:lpstr>THE MISSION </vt:lpstr>
      <vt:lpstr>LHC VALUES </vt:lpstr>
      <vt:lpstr>Strategic Goals</vt:lpstr>
      <vt:lpstr>Strategic Goals – continued 2</vt:lpstr>
      <vt:lpstr>Strategic Goals – continued 3</vt:lpstr>
      <vt:lpstr>Strategic Goals – New Additional Priorities</vt:lpstr>
      <vt:lpstr>Affordable Housing Headwind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rt of Terrebonne</dc:title>
  <dc:creator>Sarah Bowden</dc:creator>
  <cp:lastModifiedBy>Barry Brooks</cp:lastModifiedBy>
  <cp:revision>37</cp:revision>
  <cp:lastPrinted>2022-09-09T19:26:33Z</cp:lastPrinted>
  <dcterms:created xsi:type="dcterms:W3CDTF">2021-07-15T15:30:59Z</dcterms:created>
  <dcterms:modified xsi:type="dcterms:W3CDTF">2024-09-16T23:31:01Z</dcterms:modified>
</cp:coreProperties>
</file>